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9" r:id="rId2"/>
  </p:sldMasterIdLst>
  <p:notesMasterIdLst>
    <p:notesMasterId r:id="rId6"/>
  </p:notesMasterIdLst>
  <p:sldIdLst>
    <p:sldId id="3343" r:id="rId3"/>
    <p:sldId id="3346" r:id="rId4"/>
    <p:sldId id="3344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CBD478C-6EA6-4C56-9BB8-92DA35C6996A}" v="25" dt="2022-09-27T19:51:25.421"/>
  </p1510:revLst>
</p1510:revInfo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100" d="100"/>
          <a:sy n="100" d="100"/>
        </p:scale>
        <p:origin x="954" y="2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dhithiya Manohar Charle" userId="387b02c8-a6cf-4f28-9236-45129996db49" providerId="ADAL" clId="{2CBD478C-6EA6-4C56-9BB8-92DA35C6996A}"/>
    <pc:docChg chg="undo custSel addSld delSld modSld delMainMaster">
      <pc:chgData name="Adhithiya Manohar Charle" userId="387b02c8-a6cf-4f28-9236-45129996db49" providerId="ADAL" clId="{2CBD478C-6EA6-4C56-9BB8-92DA35C6996A}" dt="2022-09-27T20:13:30.607" v="602" actId="1076"/>
      <pc:docMkLst>
        <pc:docMk/>
      </pc:docMkLst>
      <pc:sldChg chg="new del">
        <pc:chgData name="Adhithiya Manohar Charle" userId="387b02c8-a6cf-4f28-9236-45129996db49" providerId="ADAL" clId="{2CBD478C-6EA6-4C56-9BB8-92DA35C6996A}" dt="2022-09-27T16:09:25.946" v="2" actId="47"/>
        <pc:sldMkLst>
          <pc:docMk/>
          <pc:sldMk cId="592905148" sldId="256"/>
        </pc:sldMkLst>
      </pc:sldChg>
      <pc:sldChg chg="add del">
        <pc:chgData name="Adhithiya Manohar Charle" userId="387b02c8-a6cf-4f28-9236-45129996db49" providerId="ADAL" clId="{2CBD478C-6EA6-4C56-9BB8-92DA35C6996A}" dt="2022-09-27T16:09:27.374" v="3" actId="47"/>
        <pc:sldMkLst>
          <pc:docMk/>
          <pc:sldMk cId="3300550866" sldId="3329"/>
        </pc:sldMkLst>
      </pc:sldChg>
      <pc:sldChg chg="modSp add del">
        <pc:chgData name="Adhithiya Manohar Charle" userId="387b02c8-a6cf-4f28-9236-45129996db49" providerId="ADAL" clId="{2CBD478C-6EA6-4C56-9BB8-92DA35C6996A}" dt="2022-09-27T16:09:28.171" v="4" actId="47"/>
        <pc:sldMkLst>
          <pc:docMk/>
          <pc:sldMk cId="617331783" sldId="3342"/>
        </pc:sldMkLst>
        <pc:graphicFrameChg chg="mod">
          <ac:chgData name="Adhithiya Manohar Charle" userId="387b02c8-a6cf-4f28-9236-45129996db49" providerId="ADAL" clId="{2CBD478C-6EA6-4C56-9BB8-92DA35C6996A}" dt="2022-09-27T16:09:18.810" v="1"/>
          <ac:graphicFrameMkLst>
            <pc:docMk/>
            <pc:sldMk cId="617331783" sldId="3342"/>
            <ac:graphicFrameMk id="8" creationId="{2C4A703A-C98F-9571-5501-00E8BBBF9A44}"/>
          </ac:graphicFrameMkLst>
        </pc:graphicFrameChg>
      </pc:sldChg>
      <pc:sldChg chg="modSp mod">
        <pc:chgData name="Adhithiya Manohar Charle" userId="387b02c8-a6cf-4f28-9236-45129996db49" providerId="ADAL" clId="{2CBD478C-6EA6-4C56-9BB8-92DA35C6996A}" dt="2022-09-27T19:27:20.298" v="335" actId="20577"/>
        <pc:sldMkLst>
          <pc:docMk/>
          <pc:sldMk cId="2423095655" sldId="3343"/>
        </pc:sldMkLst>
        <pc:spChg chg="mod">
          <ac:chgData name="Adhithiya Manohar Charle" userId="387b02c8-a6cf-4f28-9236-45129996db49" providerId="ADAL" clId="{2CBD478C-6EA6-4C56-9BB8-92DA35C6996A}" dt="2022-09-27T19:27:20.298" v="335" actId="20577"/>
          <ac:spMkLst>
            <pc:docMk/>
            <pc:sldMk cId="2423095655" sldId="3343"/>
            <ac:spMk id="2" creationId="{CF1C6CDA-96EF-4992-9AF2-6F15731BF403}"/>
          </ac:spMkLst>
        </pc:spChg>
        <pc:spChg chg="mod">
          <ac:chgData name="Adhithiya Manohar Charle" userId="387b02c8-a6cf-4f28-9236-45129996db49" providerId="ADAL" clId="{2CBD478C-6EA6-4C56-9BB8-92DA35C6996A}" dt="2022-09-27T19:20:27.631" v="240" actId="1076"/>
          <ac:spMkLst>
            <pc:docMk/>
            <pc:sldMk cId="2423095655" sldId="3343"/>
            <ac:spMk id="7" creationId="{7B49B9A8-7362-4FFB-9503-B3F42D92B70A}"/>
          </ac:spMkLst>
        </pc:spChg>
      </pc:sldChg>
      <pc:sldChg chg="addSp delSp modSp mod">
        <pc:chgData name="Adhithiya Manohar Charle" userId="387b02c8-a6cf-4f28-9236-45129996db49" providerId="ADAL" clId="{2CBD478C-6EA6-4C56-9BB8-92DA35C6996A}" dt="2022-09-27T20:13:30.607" v="602" actId="1076"/>
        <pc:sldMkLst>
          <pc:docMk/>
          <pc:sldMk cId="184377271" sldId="3344"/>
        </pc:sldMkLst>
        <pc:spChg chg="del">
          <ac:chgData name="Adhithiya Manohar Charle" userId="387b02c8-a6cf-4f28-9236-45129996db49" providerId="ADAL" clId="{2CBD478C-6EA6-4C56-9BB8-92DA35C6996A}" dt="2022-09-27T18:29:42.728" v="29" actId="478"/>
          <ac:spMkLst>
            <pc:docMk/>
            <pc:sldMk cId="184377271" sldId="3344"/>
            <ac:spMk id="5" creationId="{C02F536F-2AB4-D798-C188-662941983842}"/>
          </ac:spMkLst>
        </pc:spChg>
        <pc:spChg chg="add mod">
          <ac:chgData name="Adhithiya Manohar Charle" userId="387b02c8-a6cf-4f28-9236-45129996db49" providerId="ADAL" clId="{2CBD478C-6EA6-4C56-9BB8-92DA35C6996A}" dt="2022-09-27T20:13:24.333" v="599" actId="1076"/>
          <ac:spMkLst>
            <pc:docMk/>
            <pc:sldMk cId="184377271" sldId="3344"/>
            <ac:spMk id="7" creationId="{11E75724-4A45-178E-FB7C-31A5B2B27145}"/>
          </ac:spMkLst>
        </pc:spChg>
        <pc:spChg chg="add mod">
          <ac:chgData name="Adhithiya Manohar Charle" userId="387b02c8-a6cf-4f28-9236-45129996db49" providerId="ADAL" clId="{2CBD478C-6EA6-4C56-9BB8-92DA35C6996A}" dt="2022-09-27T20:13:26.584" v="600" actId="1076"/>
          <ac:spMkLst>
            <pc:docMk/>
            <pc:sldMk cId="184377271" sldId="3344"/>
            <ac:spMk id="9" creationId="{E7E3FB0C-3EE9-DEFE-6EAE-90DBB39D6154}"/>
          </ac:spMkLst>
        </pc:spChg>
        <pc:spChg chg="add mod">
          <ac:chgData name="Adhithiya Manohar Charle" userId="387b02c8-a6cf-4f28-9236-45129996db49" providerId="ADAL" clId="{2CBD478C-6EA6-4C56-9BB8-92DA35C6996A}" dt="2022-09-27T20:13:30.607" v="602" actId="1076"/>
          <ac:spMkLst>
            <pc:docMk/>
            <pc:sldMk cId="184377271" sldId="3344"/>
            <ac:spMk id="10" creationId="{5C3B3228-B3D8-D071-A799-5B7407C53195}"/>
          </ac:spMkLst>
        </pc:spChg>
        <pc:spChg chg="add mod">
          <ac:chgData name="Adhithiya Manohar Charle" userId="387b02c8-a6cf-4f28-9236-45129996db49" providerId="ADAL" clId="{2CBD478C-6EA6-4C56-9BB8-92DA35C6996A}" dt="2022-09-27T19:52:55.730" v="594" actId="20577"/>
          <ac:spMkLst>
            <pc:docMk/>
            <pc:sldMk cId="184377271" sldId="3344"/>
            <ac:spMk id="11" creationId="{F7E5DCE5-CA5D-C510-7C5F-275373B45AC5}"/>
          </ac:spMkLst>
        </pc:spChg>
        <pc:spChg chg="mod">
          <ac:chgData name="Adhithiya Manohar Charle" userId="387b02c8-a6cf-4f28-9236-45129996db49" providerId="ADAL" clId="{2CBD478C-6EA6-4C56-9BB8-92DA35C6996A}" dt="2022-09-27T19:28:26.325" v="361" actId="20577"/>
          <ac:spMkLst>
            <pc:docMk/>
            <pc:sldMk cId="184377271" sldId="3344"/>
            <ac:spMk id="80" creationId="{00000000-0000-0000-0000-000000000000}"/>
          </ac:spMkLst>
        </pc:spChg>
        <pc:graphicFrameChg chg="add del mod">
          <ac:chgData name="Adhithiya Manohar Charle" userId="387b02c8-a6cf-4f28-9236-45129996db49" providerId="ADAL" clId="{2CBD478C-6EA6-4C56-9BB8-92DA35C6996A}" dt="2022-09-27T18:29:14.062" v="22"/>
          <ac:graphicFrameMkLst>
            <pc:docMk/>
            <pc:sldMk cId="184377271" sldId="3344"/>
            <ac:graphicFrameMk id="3" creationId="{A3A17CEE-9562-FED5-6231-9C258132EE73}"/>
          </ac:graphicFrameMkLst>
        </pc:graphicFrameChg>
        <pc:graphicFrameChg chg="add mod modGraphic">
          <ac:chgData name="Adhithiya Manohar Charle" userId="387b02c8-a6cf-4f28-9236-45129996db49" providerId="ADAL" clId="{2CBD478C-6EA6-4C56-9BB8-92DA35C6996A}" dt="2022-09-27T20:13:20.541" v="598" actId="14734"/>
          <ac:graphicFrameMkLst>
            <pc:docMk/>
            <pc:sldMk cId="184377271" sldId="3344"/>
            <ac:graphicFrameMk id="4" creationId="{13037805-A88B-2D8C-0C1D-10ADAD91D9DA}"/>
          </ac:graphicFrameMkLst>
        </pc:graphicFrameChg>
        <pc:graphicFrameChg chg="add del mod">
          <ac:chgData name="Adhithiya Manohar Charle" userId="387b02c8-a6cf-4f28-9236-45129996db49" providerId="ADAL" clId="{2CBD478C-6EA6-4C56-9BB8-92DA35C6996A}" dt="2022-09-27T18:59:30.258" v="77"/>
          <ac:graphicFrameMkLst>
            <pc:docMk/>
            <pc:sldMk cId="184377271" sldId="3344"/>
            <ac:graphicFrameMk id="6" creationId="{E6112F91-B5D1-0A08-E19A-90C62AF115BE}"/>
          </ac:graphicFrameMkLst>
        </pc:graphicFrameChg>
        <pc:graphicFrameChg chg="del">
          <ac:chgData name="Adhithiya Manohar Charle" userId="387b02c8-a6cf-4f28-9236-45129996db49" providerId="ADAL" clId="{2CBD478C-6EA6-4C56-9BB8-92DA35C6996A}" dt="2022-09-27T18:18:49.155" v="20" actId="478"/>
          <ac:graphicFrameMkLst>
            <pc:docMk/>
            <pc:sldMk cId="184377271" sldId="3344"/>
            <ac:graphicFrameMk id="8" creationId="{2C4A703A-C98F-9571-5501-00E8BBBF9A44}"/>
          </ac:graphicFrameMkLst>
        </pc:graphicFrameChg>
      </pc:sldChg>
      <pc:sldChg chg="addSp delSp modSp new del mod">
        <pc:chgData name="Adhithiya Manohar Charle" userId="387b02c8-a6cf-4f28-9236-45129996db49" providerId="ADAL" clId="{2CBD478C-6EA6-4C56-9BB8-92DA35C6996A}" dt="2022-09-27T18:59:14.875" v="72" actId="47"/>
        <pc:sldMkLst>
          <pc:docMk/>
          <pc:sldMk cId="3374200155" sldId="3345"/>
        </pc:sldMkLst>
        <pc:spChg chg="del">
          <ac:chgData name="Adhithiya Manohar Charle" userId="387b02c8-a6cf-4f28-9236-45129996db49" providerId="ADAL" clId="{2CBD478C-6EA6-4C56-9BB8-92DA35C6996A}" dt="2022-09-27T18:59:00.595" v="66" actId="478"/>
          <ac:spMkLst>
            <pc:docMk/>
            <pc:sldMk cId="3374200155" sldId="3345"/>
            <ac:spMk id="2" creationId="{16A655E8-101F-86C3-D303-AEEABF5BEA58}"/>
          </ac:spMkLst>
        </pc:spChg>
        <pc:graphicFrameChg chg="add del mod">
          <ac:chgData name="Adhithiya Manohar Charle" userId="387b02c8-a6cf-4f28-9236-45129996db49" providerId="ADAL" clId="{2CBD478C-6EA6-4C56-9BB8-92DA35C6996A}" dt="2022-09-27T18:59:09.405" v="70"/>
          <ac:graphicFrameMkLst>
            <pc:docMk/>
            <pc:sldMk cId="3374200155" sldId="3345"/>
            <ac:graphicFrameMk id="3" creationId="{8E170F38-AD4A-2A76-90DB-F97B17A0CD33}"/>
          </ac:graphicFrameMkLst>
        </pc:graphicFrameChg>
      </pc:sldChg>
      <pc:sldChg chg="addSp delSp modSp add mod">
        <pc:chgData name="Adhithiya Manohar Charle" userId="387b02c8-a6cf-4f28-9236-45129996db49" providerId="ADAL" clId="{2CBD478C-6EA6-4C56-9BB8-92DA35C6996A}" dt="2022-09-27T19:47:14.328" v="365" actId="14100"/>
        <pc:sldMkLst>
          <pc:docMk/>
          <pc:sldMk cId="572963691" sldId="3346"/>
        </pc:sldMkLst>
        <pc:spChg chg="del">
          <ac:chgData name="Adhithiya Manohar Charle" userId="387b02c8-a6cf-4f28-9236-45129996db49" providerId="ADAL" clId="{2CBD478C-6EA6-4C56-9BB8-92DA35C6996A}" dt="2022-09-27T18:59:18.206" v="73" actId="478"/>
          <ac:spMkLst>
            <pc:docMk/>
            <pc:sldMk cId="572963691" sldId="3346"/>
            <ac:spMk id="2" creationId="{D75AC36F-2A6A-5214-CDCC-D2E67D59F94C}"/>
          </ac:spMkLst>
        </pc:spChg>
        <pc:spChg chg="mod">
          <ac:chgData name="Adhithiya Manohar Charle" userId="387b02c8-a6cf-4f28-9236-45129996db49" providerId="ADAL" clId="{2CBD478C-6EA6-4C56-9BB8-92DA35C6996A}" dt="2022-09-27T19:17:13.114" v="166" actId="122"/>
          <ac:spMkLst>
            <pc:docMk/>
            <pc:sldMk cId="572963691" sldId="3346"/>
            <ac:spMk id="80" creationId="{00000000-0000-0000-0000-000000000000}"/>
          </ac:spMkLst>
        </pc:spChg>
        <pc:graphicFrameChg chg="add mod modGraphic">
          <ac:chgData name="Adhithiya Manohar Charle" userId="387b02c8-a6cf-4f28-9236-45129996db49" providerId="ADAL" clId="{2CBD478C-6EA6-4C56-9BB8-92DA35C6996A}" dt="2022-09-27T19:47:14.328" v="365" actId="14100"/>
          <ac:graphicFrameMkLst>
            <pc:docMk/>
            <pc:sldMk cId="572963691" sldId="3346"/>
            <ac:graphicFrameMk id="3" creationId="{46152D62-D375-AD98-F1FC-36E321665F53}"/>
          </ac:graphicFrameMkLst>
        </pc:graphicFrameChg>
        <pc:graphicFrameChg chg="del">
          <ac:chgData name="Adhithiya Manohar Charle" userId="387b02c8-a6cf-4f28-9236-45129996db49" providerId="ADAL" clId="{2CBD478C-6EA6-4C56-9BB8-92DA35C6996A}" dt="2022-09-27T18:59:18.206" v="73" actId="478"/>
          <ac:graphicFrameMkLst>
            <pc:docMk/>
            <pc:sldMk cId="572963691" sldId="3346"/>
            <ac:graphicFrameMk id="4" creationId="{13037805-A88B-2D8C-0C1D-10ADAD91D9DA}"/>
          </ac:graphicFrameMkLst>
        </pc:graphicFrameChg>
        <pc:graphicFrameChg chg="add del mod modGraphic">
          <ac:chgData name="Adhithiya Manohar Charle" userId="387b02c8-a6cf-4f28-9236-45129996db49" providerId="ADAL" clId="{2CBD478C-6EA6-4C56-9BB8-92DA35C6996A}" dt="2022-09-27T19:25:17.115" v="252"/>
          <ac:graphicFrameMkLst>
            <pc:docMk/>
            <pc:sldMk cId="572963691" sldId="3346"/>
            <ac:graphicFrameMk id="5" creationId="{D1BEC361-11E2-EAF8-312A-D7CFD9FD0D11}"/>
          </ac:graphicFrameMkLst>
        </pc:graphicFrameChg>
      </pc:sldChg>
      <pc:sldChg chg="add del">
        <pc:chgData name="Adhithiya Manohar Charle" userId="387b02c8-a6cf-4f28-9236-45129996db49" providerId="ADAL" clId="{2CBD478C-6EA6-4C56-9BB8-92DA35C6996A}" dt="2022-09-27T18:59:20.903" v="75"/>
        <pc:sldMkLst>
          <pc:docMk/>
          <pc:sldMk cId="2350048324" sldId="3347"/>
        </pc:sldMkLst>
      </pc:sldChg>
      <pc:sldMasterChg chg="del delSldLayout">
        <pc:chgData name="Adhithiya Manohar Charle" userId="387b02c8-a6cf-4f28-9236-45129996db49" providerId="ADAL" clId="{2CBD478C-6EA6-4C56-9BB8-92DA35C6996A}" dt="2022-09-27T16:09:28.171" v="4" actId="47"/>
        <pc:sldMasterMkLst>
          <pc:docMk/>
          <pc:sldMasterMk cId="1712268032" sldId="2147483648"/>
        </pc:sldMasterMkLst>
        <pc:sldLayoutChg chg="del">
          <pc:chgData name="Adhithiya Manohar Charle" userId="387b02c8-a6cf-4f28-9236-45129996db49" providerId="ADAL" clId="{2CBD478C-6EA6-4C56-9BB8-92DA35C6996A}" dt="2022-09-27T16:09:28.171" v="4" actId="47"/>
          <pc:sldLayoutMkLst>
            <pc:docMk/>
            <pc:sldMasterMk cId="1712268032" sldId="2147483648"/>
            <pc:sldLayoutMk cId="834051717" sldId="2147483649"/>
          </pc:sldLayoutMkLst>
        </pc:sldLayoutChg>
        <pc:sldLayoutChg chg="del">
          <pc:chgData name="Adhithiya Manohar Charle" userId="387b02c8-a6cf-4f28-9236-45129996db49" providerId="ADAL" clId="{2CBD478C-6EA6-4C56-9BB8-92DA35C6996A}" dt="2022-09-27T16:09:28.171" v="4" actId="47"/>
          <pc:sldLayoutMkLst>
            <pc:docMk/>
            <pc:sldMasterMk cId="1712268032" sldId="2147483648"/>
            <pc:sldLayoutMk cId="2027953635" sldId="2147483650"/>
          </pc:sldLayoutMkLst>
        </pc:sldLayoutChg>
        <pc:sldLayoutChg chg="del">
          <pc:chgData name="Adhithiya Manohar Charle" userId="387b02c8-a6cf-4f28-9236-45129996db49" providerId="ADAL" clId="{2CBD478C-6EA6-4C56-9BB8-92DA35C6996A}" dt="2022-09-27T16:09:28.171" v="4" actId="47"/>
          <pc:sldLayoutMkLst>
            <pc:docMk/>
            <pc:sldMasterMk cId="1712268032" sldId="2147483648"/>
            <pc:sldLayoutMk cId="139572833" sldId="2147483651"/>
          </pc:sldLayoutMkLst>
        </pc:sldLayoutChg>
        <pc:sldLayoutChg chg="del">
          <pc:chgData name="Adhithiya Manohar Charle" userId="387b02c8-a6cf-4f28-9236-45129996db49" providerId="ADAL" clId="{2CBD478C-6EA6-4C56-9BB8-92DA35C6996A}" dt="2022-09-27T16:09:28.171" v="4" actId="47"/>
          <pc:sldLayoutMkLst>
            <pc:docMk/>
            <pc:sldMasterMk cId="1712268032" sldId="2147483648"/>
            <pc:sldLayoutMk cId="1414605733" sldId="2147483652"/>
          </pc:sldLayoutMkLst>
        </pc:sldLayoutChg>
        <pc:sldLayoutChg chg="del">
          <pc:chgData name="Adhithiya Manohar Charle" userId="387b02c8-a6cf-4f28-9236-45129996db49" providerId="ADAL" clId="{2CBD478C-6EA6-4C56-9BB8-92DA35C6996A}" dt="2022-09-27T16:09:28.171" v="4" actId="47"/>
          <pc:sldLayoutMkLst>
            <pc:docMk/>
            <pc:sldMasterMk cId="1712268032" sldId="2147483648"/>
            <pc:sldLayoutMk cId="1434222459" sldId="2147483653"/>
          </pc:sldLayoutMkLst>
        </pc:sldLayoutChg>
        <pc:sldLayoutChg chg="del">
          <pc:chgData name="Adhithiya Manohar Charle" userId="387b02c8-a6cf-4f28-9236-45129996db49" providerId="ADAL" clId="{2CBD478C-6EA6-4C56-9BB8-92DA35C6996A}" dt="2022-09-27T16:09:28.171" v="4" actId="47"/>
          <pc:sldLayoutMkLst>
            <pc:docMk/>
            <pc:sldMasterMk cId="1712268032" sldId="2147483648"/>
            <pc:sldLayoutMk cId="1285307559" sldId="2147483654"/>
          </pc:sldLayoutMkLst>
        </pc:sldLayoutChg>
        <pc:sldLayoutChg chg="del">
          <pc:chgData name="Adhithiya Manohar Charle" userId="387b02c8-a6cf-4f28-9236-45129996db49" providerId="ADAL" clId="{2CBD478C-6EA6-4C56-9BB8-92DA35C6996A}" dt="2022-09-27T16:09:28.171" v="4" actId="47"/>
          <pc:sldLayoutMkLst>
            <pc:docMk/>
            <pc:sldMasterMk cId="1712268032" sldId="2147483648"/>
            <pc:sldLayoutMk cId="1993788249" sldId="2147483655"/>
          </pc:sldLayoutMkLst>
        </pc:sldLayoutChg>
        <pc:sldLayoutChg chg="del">
          <pc:chgData name="Adhithiya Manohar Charle" userId="387b02c8-a6cf-4f28-9236-45129996db49" providerId="ADAL" clId="{2CBD478C-6EA6-4C56-9BB8-92DA35C6996A}" dt="2022-09-27T16:09:28.171" v="4" actId="47"/>
          <pc:sldLayoutMkLst>
            <pc:docMk/>
            <pc:sldMasterMk cId="1712268032" sldId="2147483648"/>
            <pc:sldLayoutMk cId="124422450" sldId="2147483656"/>
          </pc:sldLayoutMkLst>
        </pc:sldLayoutChg>
        <pc:sldLayoutChg chg="del">
          <pc:chgData name="Adhithiya Manohar Charle" userId="387b02c8-a6cf-4f28-9236-45129996db49" providerId="ADAL" clId="{2CBD478C-6EA6-4C56-9BB8-92DA35C6996A}" dt="2022-09-27T16:09:28.171" v="4" actId="47"/>
          <pc:sldLayoutMkLst>
            <pc:docMk/>
            <pc:sldMasterMk cId="1712268032" sldId="2147483648"/>
            <pc:sldLayoutMk cId="1794874271" sldId="2147483657"/>
          </pc:sldLayoutMkLst>
        </pc:sldLayoutChg>
        <pc:sldLayoutChg chg="del">
          <pc:chgData name="Adhithiya Manohar Charle" userId="387b02c8-a6cf-4f28-9236-45129996db49" providerId="ADAL" clId="{2CBD478C-6EA6-4C56-9BB8-92DA35C6996A}" dt="2022-09-27T16:09:28.171" v="4" actId="47"/>
          <pc:sldLayoutMkLst>
            <pc:docMk/>
            <pc:sldMasterMk cId="1712268032" sldId="2147483648"/>
            <pc:sldLayoutMk cId="4213083268" sldId="2147483658"/>
          </pc:sldLayoutMkLst>
        </pc:sldLayoutChg>
        <pc:sldLayoutChg chg="del">
          <pc:chgData name="Adhithiya Manohar Charle" userId="387b02c8-a6cf-4f28-9236-45129996db49" providerId="ADAL" clId="{2CBD478C-6EA6-4C56-9BB8-92DA35C6996A}" dt="2022-09-27T16:09:28.171" v="4" actId="47"/>
          <pc:sldLayoutMkLst>
            <pc:docMk/>
            <pc:sldMasterMk cId="1712268032" sldId="2147483648"/>
            <pc:sldLayoutMk cId="3571485466" sldId="2147483659"/>
          </pc:sldLayoutMkLst>
        </pc:sldLayoutChg>
        <pc:sldLayoutChg chg="del">
          <pc:chgData name="Adhithiya Manohar Charle" userId="387b02c8-a6cf-4f28-9236-45129996db49" providerId="ADAL" clId="{2CBD478C-6EA6-4C56-9BB8-92DA35C6996A}" dt="2022-09-27T16:09:27.374" v="3" actId="47"/>
          <pc:sldLayoutMkLst>
            <pc:docMk/>
            <pc:sldMasterMk cId="1712268032" sldId="2147483648"/>
            <pc:sldLayoutMk cId="1247366199" sldId="2147483660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79B039-4B8E-4EF0-876B-DDFFA53D6CD6}" type="datetimeFigureOut">
              <a:rPr lang="en-US" smtClean="0"/>
              <a:t>9/2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FF33DF-647A-466E-8794-CA5103F24B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0004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22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3262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1463040" y="4717354"/>
            <a:ext cx="10130936" cy="6752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733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63040" y="3958717"/>
            <a:ext cx="10130936" cy="6752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733" b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titl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463040" y="2770137"/>
            <a:ext cx="10130936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2768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Tex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martArt Placeholder 8"/>
          <p:cNvSpPr>
            <a:spLocks noGrp="1" noChangeAspect="1"/>
          </p:cNvSpPr>
          <p:nvPr>
            <p:ph type="dgm" sz="quarter" idx="12"/>
          </p:nvPr>
        </p:nvSpPr>
        <p:spPr>
          <a:xfrm>
            <a:off x="5608320" y="1463040"/>
            <a:ext cx="597408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09600" y="1463040"/>
            <a:ext cx="4876800" cy="45720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</p:txBody>
      </p:sp>
    </p:spTree>
    <p:extLst>
      <p:ext uri="{BB962C8B-B14F-4D97-AF65-F5344CB8AC3E}">
        <p14:creationId xmlns:p14="http://schemas.microsoft.com/office/powerpoint/2010/main" val="42581783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martArt Placeholder 3"/>
          <p:cNvSpPr>
            <a:spLocks noGrp="1" noChangeAspect="1"/>
          </p:cNvSpPr>
          <p:nvPr>
            <p:ph type="dgm" sz="quarter" idx="13"/>
          </p:nvPr>
        </p:nvSpPr>
        <p:spPr>
          <a:xfrm>
            <a:off x="605373" y="1463040"/>
            <a:ext cx="10977033" cy="45720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SmartArt graphic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916067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4"/>
          <p:cNvSpPr>
            <a:spLocks noGrp="1" noChangeAspect="1"/>
          </p:cNvSpPr>
          <p:nvPr>
            <p:ph type="chart" sz="quarter" idx="14"/>
          </p:nvPr>
        </p:nvSpPr>
        <p:spPr>
          <a:xfrm>
            <a:off x="605367" y="1463040"/>
            <a:ext cx="10972800" cy="45720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5665578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Headers +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6"/>
          <p:cNvSpPr>
            <a:spLocks noGrp="1"/>
          </p:cNvSpPr>
          <p:nvPr>
            <p:ph type="chart" sz="quarter" idx="10"/>
          </p:nvPr>
        </p:nvSpPr>
        <p:spPr>
          <a:xfrm>
            <a:off x="6096000" y="2036064"/>
            <a:ext cx="548640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8" name="Chart Placeholder 6"/>
          <p:cNvSpPr>
            <a:spLocks noGrp="1" noChangeAspect="1"/>
          </p:cNvSpPr>
          <p:nvPr>
            <p:ph type="chart" sz="quarter" idx="11"/>
          </p:nvPr>
        </p:nvSpPr>
        <p:spPr>
          <a:xfrm>
            <a:off x="609600" y="2036064"/>
            <a:ext cx="548640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096000" y="1389888"/>
            <a:ext cx="54864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389888"/>
            <a:ext cx="54864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040078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70713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6820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3DCDDB0-F1A2-4E19-9777-2B52D7F561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9" imgH="627" progId="TCLayout.ActiveDocument.1">
                  <p:embed/>
                </p:oleObj>
              </mc:Choice>
              <mc:Fallback>
                <p:oleObj name="think-cell Slide" r:id="rId3" imgW="629" imgH="62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3DCDDB0-F1A2-4E19-9777-2B52D7F561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6126DD-6D21-4DEB-A03A-1FAC2BEBD4BE}" type="datetimeFigureOut">
              <a:rPr lang="en-US" smtClean="0"/>
              <a:t>9/2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683F7-1838-44C1-A3C7-3B4474FEF1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4433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099887"/>
            <a:ext cx="10363200" cy="893215"/>
          </a:xfrm>
        </p:spPr>
        <p:txBody>
          <a:bodyPr anchor="b">
            <a:normAutofit/>
          </a:bodyPr>
          <a:lstStyle>
            <a:lvl1pPr algn="l">
              <a:defRPr sz="3600" b="1" cap="none" baseline="0">
                <a:solidFill>
                  <a:srgbClr val="2573B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877601"/>
            <a:ext cx="10363200" cy="464735"/>
          </a:xfrm>
        </p:spPr>
        <p:txBody>
          <a:bodyPr anchor="b">
            <a:normAutofit/>
          </a:bodyPr>
          <a:lstStyle>
            <a:lvl1pPr marL="0" indent="0">
              <a:buNone/>
              <a:defRPr sz="1800">
                <a:solidFill>
                  <a:srgbClr val="57819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77354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1463040" y="4717354"/>
            <a:ext cx="10130936" cy="6752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733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63040" y="3958717"/>
            <a:ext cx="10130936" cy="6752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733" b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titl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463040" y="2770137"/>
            <a:ext cx="10130936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7041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1463041"/>
            <a:ext cx="10972800" cy="461265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Bullet level 1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35740545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1463041"/>
            <a:ext cx="10972800" cy="461265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Bullet level 1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5766288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able Placeholder 7"/>
          <p:cNvSpPr>
            <a:spLocks noGrp="1"/>
          </p:cNvSpPr>
          <p:nvPr>
            <p:ph type="tbl" sz="quarter" idx="15"/>
          </p:nvPr>
        </p:nvSpPr>
        <p:spPr>
          <a:xfrm>
            <a:off x="609600" y="1463040"/>
            <a:ext cx="10972800" cy="487680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/>
              <a:t>Click icon to add 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35479"/>
            <a:ext cx="10972800" cy="1143000"/>
          </a:xfrm>
        </p:spPr>
        <p:txBody>
          <a:bodyPr anchor="t"/>
          <a:lstStyle/>
          <a:p>
            <a:r>
              <a:rPr lang="en-US" noProof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891966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609600" y="3449589"/>
            <a:ext cx="10972800" cy="6752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733" b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300243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8220613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1463041"/>
            <a:ext cx="5388864" cy="461265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193536" y="1463041"/>
            <a:ext cx="5388864" cy="461265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Keep text size consistent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4885097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Headers +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193538" y="1389443"/>
            <a:ext cx="5389033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389443"/>
            <a:ext cx="5389033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2029968"/>
            <a:ext cx="5388864" cy="438912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193536" y="2029968"/>
            <a:ext cx="5388864" cy="438912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Keep text size consistent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2209575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3 Headers +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7924800" y="1389889"/>
            <a:ext cx="36576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267200" y="1389889"/>
            <a:ext cx="36576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9443"/>
            <a:ext cx="36576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2029969"/>
            <a:ext cx="3657600" cy="432714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3733"/>
            </a:lvl1pPr>
            <a:lvl2pPr marL="914377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200"/>
            </a:lvl2pPr>
            <a:lvl3pPr marL="1219170" indent="-609585">
              <a:lnSpc>
                <a:spcPct val="110000"/>
              </a:lnSpc>
              <a:buFont typeface="Wingdings" panose="05000000000000000000" pitchFamily="2" charset="2"/>
              <a:buChar char="§"/>
              <a:defRPr sz="2667"/>
            </a:lvl3pPr>
            <a:lvl4pPr marL="1523962" indent="-609585">
              <a:lnSpc>
                <a:spcPct val="110000"/>
              </a:lnSpc>
              <a:buFont typeface="Arial" panose="020B0604020202020204" pitchFamily="34" charset="0"/>
              <a:buChar char="-"/>
              <a:defRPr sz="26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26" hasCustomPrompt="1"/>
          </p:nvPr>
        </p:nvSpPr>
        <p:spPr>
          <a:xfrm>
            <a:off x="4267200" y="2029206"/>
            <a:ext cx="3657600" cy="432714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3733" baseline="0"/>
            </a:lvl1pPr>
            <a:lvl2pPr marL="914377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200"/>
            </a:lvl2pPr>
            <a:lvl3pPr marL="1219170" indent="-609585">
              <a:lnSpc>
                <a:spcPct val="110000"/>
              </a:lnSpc>
              <a:buFont typeface="Wingdings" panose="05000000000000000000" pitchFamily="2" charset="2"/>
              <a:buChar char="§"/>
              <a:defRPr sz="2667"/>
            </a:lvl3pPr>
            <a:lvl4pPr marL="1523962" indent="-609585">
              <a:lnSpc>
                <a:spcPct val="110000"/>
              </a:lnSpc>
              <a:buFont typeface="Arial" panose="020B0604020202020204" pitchFamily="34" charset="0"/>
              <a:buChar char="-"/>
              <a:defRPr sz="26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7" hasCustomPrompt="1"/>
          </p:nvPr>
        </p:nvSpPr>
        <p:spPr>
          <a:xfrm>
            <a:off x="7929880" y="2029969"/>
            <a:ext cx="3657600" cy="432714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3733"/>
            </a:lvl1pPr>
            <a:lvl2pPr marL="914377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200"/>
            </a:lvl2pPr>
            <a:lvl3pPr marL="1219170" indent="-609585">
              <a:lnSpc>
                <a:spcPct val="110000"/>
              </a:lnSpc>
              <a:buFont typeface="Wingdings" panose="05000000000000000000" pitchFamily="2" charset="2"/>
              <a:buChar char="§"/>
              <a:defRPr sz="2667"/>
            </a:lvl3pPr>
            <a:lvl4pPr marL="1523962" indent="-609585">
              <a:lnSpc>
                <a:spcPct val="110000"/>
              </a:lnSpc>
              <a:buFont typeface="Arial" panose="020B0604020202020204" pitchFamily="34" charset="0"/>
              <a:buChar char="-"/>
              <a:defRPr sz="26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7441022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Header + Tex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martArt Placeholder 6"/>
          <p:cNvSpPr>
            <a:spLocks noGrp="1" noChangeAspect="1"/>
          </p:cNvSpPr>
          <p:nvPr>
            <p:ph type="dgm" sz="quarter" idx="14"/>
          </p:nvPr>
        </p:nvSpPr>
        <p:spPr>
          <a:xfrm>
            <a:off x="5608320" y="2036064"/>
            <a:ext cx="597408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3060" y="1389888"/>
            <a:ext cx="48768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2" y="2036064"/>
            <a:ext cx="4880260" cy="41148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40569538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Text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 noChangeAspect="1"/>
          </p:cNvSpPr>
          <p:nvPr>
            <p:ph type="chart" sz="quarter" idx="10"/>
          </p:nvPr>
        </p:nvSpPr>
        <p:spPr>
          <a:xfrm>
            <a:off x="5608320" y="1463040"/>
            <a:ext cx="597408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09600" y="1463040"/>
            <a:ext cx="4876800" cy="45720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</p:txBody>
      </p:sp>
    </p:spTree>
    <p:extLst>
      <p:ext uri="{BB962C8B-B14F-4D97-AF65-F5344CB8AC3E}">
        <p14:creationId xmlns:p14="http://schemas.microsoft.com/office/powerpoint/2010/main" val="29436239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Tex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martArt Placeholder 8"/>
          <p:cNvSpPr>
            <a:spLocks noGrp="1" noChangeAspect="1"/>
          </p:cNvSpPr>
          <p:nvPr>
            <p:ph type="dgm" sz="quarter" idx="12"/>
          </p:nvPr>
        </p:nvSpPr>
        <p:spPr>
          <a:xfrm>
            <a:off x="5608320" y="1463040"/>
            <a:ext cx="597408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09600" y="1463040"/>
            <a:ext cx="4876800" cy="45720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</p:txBody>
      </p:sp>
    </p:spTree>
    <p:extLst>
      <p:ext uri="{BB962C8B-B14F-4D97-AF65-F5344CB8AC3E}">
        <p14:creationId xmlns:p14="http://schemas.microsoft.com/office/powerpoint/2010/main" val="28830916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martArt Placeholder 3"/>
          <p:cNvSpPr>
            <a:spLocks noGrp="1" noChangeAspect="1"/>
          </p:cNvSpPr>
          <p:nvPr>
            <p:ph type="dgm" sz="quarter" idx="13"/>
          </p:nvPr>
        </p:nvSpPr>
        <p:spPr>
          <a:xfrm>
            <a:off x="605373" y="1463040"/>
            <a:ext cx="10977033" cy="45720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SmartArt graphic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4653349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4"/>
          <p:cNvSpPr>
            <a:spLocks noGrp="1" noChangeAspect="1"/>
          </p:cNvSpPr>
          <p:nvPr>
            <p:ph type="chart" sz="quarter" idx="14"/>
          </p:nvPr>
        </p:nvSpPr>
        <p:spPr>
          <a:xfrm>
            <a:off x="605367" y="1463040"/>
            <a:ext cx="10972800" cy="45720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2100999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able Placeholder 7"/>
          <p:cNvSpPr>
            <a:spLocks noGrp="1"/>
          </p:cNvSpPr>
          <p:nvPr>
            <p:ph type="tbl" sz="quarter" idx="15"/>
          </p:nvPr>
        </p:nvSpPr>
        <p:spPr>
          <a:xfrm>
            <a:off x="609600" y="1463040"/>
            <a:ext cx="10972800" cy="487680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/>
              <a:t>Click icon to add 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35479"/>
            <a:ext cx="10972800" cy="1143000"/>
          </a:xfrm>
        </p:spPr>
        <p:txBody>
          <a:bodyPr anchor="t"/>
          <a:lstStyle/>
          <a:p>
            <a:r>
              <a:rPr lang="en-US" noProof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2733304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Headers +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6"/>
          <p:cNvSpPr>
            <a:spLocks noGrp="1"/>
          </p:cNvSpPr>
          <p:nvPr>
            <p:ph type="chart" sz="quarter" idx="10"/>
          </p:nvPr>
        </p:nvSpPr>
        <p:spPr>
          <a:xfrm>
            <a:off x="6096000" y="2036064"/>
            <a:ext cx="548640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8" name="Chart Placeholder 6"/>
          <p:cNvSpPr>
            <a:spLocks noGrp="1" noChangeAspect="1"/>
          </p:cNvSpPr>
          <p:nvPr>
            <p:ph type="chart" sz="quarter" idx="11"/>
          </p:nvPr>
        </p:nvSpPr>
        <p:spPr>
          <a:xfrm>
            <a:off x="609600" y="2036064"/>
            <a:ext cx="548640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096000" y="1389888"/>
            <a:ext cx="54864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389888"/>
            <a:ext cx="54864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9905155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20946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5974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3DCDDB0-F1A2-4E19-9777-2B52D7F561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9" imgH="627" progId="TCLayout.ActiveDocument.1">
                  <p:embed/>
                </p:oleObj>
              </mc:Choice>
              <mc:Fallback>
                <p:oleObj name="think-cell Slide" r:id="rId3" imgW="629" imgH="62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3DCDDB0-F1A2-4E19-9777-2B52D7F561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6126DD-6D21-4DEB-A03A-1FAC2BEBD4BE}" type="datetimeFigureOut">
              <a:rPr lang="en-US" smtClean="0"/>
              <a:t>9/2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683F7-1838-44C1-A3C7-3B4474FEF1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8870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099887"/>
            <a:ext cx="10363200" cy="893215"/>
          </a:xfrm>
        </p:spPr>
        <p:txBody>
          <a:bodyPr anchor="b">
            <a:normAutofit/>
          </a:bodyPr>
          <a:lstStyle>
            <a:lvl1pPr algn="l">
              <a:defRPr sz="3600" b="1" cap="none" baseline="0">
                <a:solidFill>
                  <a:srgbClr val="2573B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877601"/>
            <a:ext cx="10363200" cy="464735"/>
          </a:xfrm>
        </p:spPr>
        <p:txBody>
          <a:bodyPr anchor="b">
            <a:normAutofit/>
          </a:bodyPr>
          <a:lstStyle>
            <a:lvl1pPr marL="0" indent="0">
              <a:buNone/>
              <a:defRPr sz="1800">
                <a:solidFill>
                  <a:srgbClr val="57819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30673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609600" y="3449589"/>
            <a:ext cx="10972800" cy="6752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733" b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300243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0846205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1463041"/>
            <a:ext cx="5388864" cy="461265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193536" y="1463041"/>
            <a:ext cx="5388864" cy="461265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Keep text size consistent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32381321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Headers +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193538" y="1389443"/>
            <a:ext cx="5389033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389443"/>
            <a:ext cx="5389033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2029968"/>
            <a:ext cx="5388864" cy="438912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193536" y="2029968"/>
            <a:ext cx="5388864" cy="438912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Keep text size consistent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12532175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3 Headers +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7924800" y="1389889"/>
            <a:ext cx="36576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267200" y="1389889"/>
            <a:ext cx="36576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9443"/>
            <a:ext cx="36576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2029969"/>
            <a:ext cx="3657600" cy="432714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3733"/>
            </a:lvl1pPr>
            <a:lvl2pPr marL="914377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200"/>
            </a:lvl2pPr>
            <a:lvl3pPr marL="1219170" indent="-609585">
              <a:lnSpc>
                <a:spcPct val="110000"/>
              </a:lnSpc>
              <a:buFont typeface="Wingdings" panose="05000000000000000000" pitchFamily="2" charset="2"/>
              <a:buChar char="§"/>
              <a:defRPr sz="2667"/>
            </a:lvl3pPr>
            <a:lvl4pPr marL="1523962" indent="-609585">
              <a:lnSpc>
                <a:spcPct val="110000"/>
              </a:lnSpc>
              <a:buFont typeface="Arial" panose="020B0604020202020204" pitchFamily="34" charset="0"/>
              <a:buChar char="-"/>
              <a:defRPr sz="26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26" hasCustomPrompt="1"/>
          </p:nvPr>
        </p:nvSpPr>
        <p:spPr>
          <a:xfrm>
            <a:off x="4267200" y="2029206"/>
            <a:ext cx="3657600" cy="432714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3733" baseline="0"/>
            </a:lvl1pPr>
            <a:lvl2pPr marL="914377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200"/>
            </a:lvl2pPr>
            <a:lvl3pPr marL="1219170" indent="-609585">
              <a:lnSpc>
                <a:spcPct val="110000"/>
              </a:lnSpc>
              <a:buFont typeface="Wingdings" panose="05000000000000000000" pitchFamily="2" charset="2"/>
              <a:buChar char="§"/>
              <a:defRPr sz="2667"/>
            </a:lvl3pPr>
            <a:lvl4pPr marL="1523962" indent="-609585">
              <a:lnSpc>
                <a:spcPct val="110000"/>
              </a:lnSpc>
              <a:buFont typeface="Arial" panose="020B0604020202020204" pitchFamily="34" charset="0"/>
              <a:buChar char="-"/>
              <a:defRPr sz="26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7" hasCustomPrompt="1"/>
          </p:nvPr>
        </p:nvSpPr>
        <p:spPr>
          <a:xfrm>
            <a:off x="7929880" y="2029969"/>
            <a:ext cx="3657600" cy="432714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3733"/>
            </a:lvl1pPr>
            <a:lvl2pPr marL="914377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200"/>
            </a:lvl2pPr>
            <a:lvl3pPr marL="1219170" indent="-609585">
              <a:lnSpc>
                <a:spcPct val="110000"/>
              </a:lnSpc>
              <a:buFont typeface="Wingdings" panose="05000000000000000000" pitchFamily="2" charset="2"/>
              <a:buChar char="§"/>
              <a:defRPr sz="2667"/>
            </a:lvl3pPr>
            <a:lvl4pPr marL="1523962" indent="-609585">
              <a:lnSpc>
                <a:spcPct val="110000"/>
              </a:lnSpc>
              <a:buFont typeface="Arial" panose="020B0604020202020204" pitchFamily="34" charset="0"/>
              <a:buChar char="-"/>
              <a:defRPr sz="26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20271160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Header + Tex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martArt Placeholder 6"/>
          <p:cNvSpPr>
            <a:spLocks noGrp="1" noChangeAspect="1"/>
          </p:cNvSpPr>
          <p:nvPr>
            <p:ph type="dgm" sz="quarter" idx="14"/>
          </p:nvPr>
        </p:nvSpPr>
        <p:spPr>
          <a:xfrm>
            <a:off x="5608320" y="2036064"/>
            <a:ext cx="597408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3060" y="1389888"/>
            <a:ext cx="48768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2" y="2036064"/>
            <a:ext cx="4880260" cy="41148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42823467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Text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 noChangeAspect="1"/>
          </p:cNvSpPr>
          <p:nvPr>
            <p:ph type="chart" sz="quarter" idx="10"/>
          </p:nvPr>
        </p:nvSpPr>
        <p:spPr>
          <a:xfrm>
            <a:off x="5608320" y="1463040"/>
            <a:ext cx="597408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09600" y="1463040"/>
            <a:ext cx="4876800" cy="45720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</p:txBody>
      </p:sp>
    </p:spTree>
    <p:extLst>
      <p:ext uri="{BB962C8B-B14F-4D97-AF65-F5344CB8AC3E}">
        <p14:creationId xmlns:p14="http://schemas.microsoft.com/office/powerpoint/2010/main" val="20332003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21" Type="http://schemas.openxmlformats.org/officeDocument/2006/relationships/oleObject" Target="../embeddings/oleObject3.bin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27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CA6926-E43B-48C0-9F51-BF5C430B4A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25439623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629" imgH="627" progId="TCLayout.ActiveDocument.1">
                  <p:embed/>
                </p:oleObj>
              </mc:Choice>
              <mc:Fallback>
                <p:oleObj name="think-cell Slide" r:id="rId21" imgW="629" imgH="6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CA6926-E43B-48C0-9F51-BF5C430B4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8BB4B3B-BEA6-4CF4-A9F3-3E387CAC34F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 descr="background-ppt-biogen2-04.jpg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143"/>
          </a:xfrm>
          <a:prstGeom prst="rect">
            <a:avLst/>
          </a:prstGeom>
        </p:spPr>
      </p:pic>
      <p:pic>
        <p:nvPicPr>
          <p:cNvPr id="7" name="Picture 6" descr="background-ppt-biogen2-04.jpg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143"/>
          </a:xfrm>
          <a:prstGeom prst="rect">
            <a:avLst/>
          </a:prstGeom>
        </p:spPr>
      </p:pic>
      <p:sp>
        <p:nvSpPr>
          <p:cNvPr id="8" name="Slide Number Placeholder 11"/>
          <p:cNvSpPr txBox="1">
            <a:spLocks/>
          </p:cNvSpPr>
          <p:nvPr/>
        </p:nvSpPr>
        <p:spPr>
          <a:xfrm>
            <a:off x="11725963" y="6492724"/>
            <a:ext cx="466037" cy="365125"/>
          </a:xfrm>
          <a:prstGeom prst="rect">
            <a:avLst/>
          </a:prstGeom>
        </p:spPr>
        <p:txBody>
          <a:bodyPr anchor="b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 baseline="30000">
                <a:solidFill>
                  <a:srgbClr val="2573BA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D79808A-BD48-6247-B53F-F089CE7B6EAB}" type="slidenum">
              <a:rPr lang="en-US" sz="1333" noProof="0" smtClean="0">
                <a:solidFill>
                  <a:srgbClr val="7C878E"/>
                </a:solidFill>
              </a:rPr>
              <a:pPr/>
              <a:t>‹#›</a:t>
            </a:fld>
            <a:endParaRPr lang="en-US" sz="1333" noProof="0">
              <a:solidFill>
                <a:srgbClr val="7C878E"/>
              </a:solidFill>
            </a:endParaRPr>
          </a:p>
        </p:txBody>
      </p:sp>
      <p:sp>
        <p:nvSpPr>
          <p:cNvPr id="12" name="Footer Placeholder 10"/>
          <p:cNvSpPr txBox="1">
            <a:spLocks/>
          </p:cNvSpPr>
          <p:nvPr/>
        </p:nvSpPr>
        <p:spPr>
          <a:xfrm>
            <a:off x="7865163" y="6494576"/>
            <a:ext cx="3860800" cy="365125"/>
          </a:xfrm>
          <a:prstGeom prst="rect">
            <a:avLst/>
          </a:prstGeom>
        </p:spPr>
        <p:txBody>
          <a:bodyPr anchor="b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en-US" sz="1000" b="0" i="0" u="none" strike="noStrike" kern="1200" baseline="30000" smtClean="0">
                <a:solidFill>
                  <a:srgbClr val="2573BA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noProof="0">
                <a:solidFill>
                  <a:srgbClr val="7C878E"/>
                </a:solidFill>
              </a:rPr>
              <a:t>Biogen | Confidential and Proprietary</a:t>
            </a:r>
          </a:p>
        </p:txBody>
      </p:sp>
      <p:pic>
        <p:nvPicPr>
          <p:cNvPr id="9" name="Picture 8" descr="logo-02.png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227" y="6423968"/>
            <a:ext cx="1013720" cy="33655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4077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idx="1"/>
          </p:nvPr>
        </p:nvSpPr>
        <p:spPr>
          <a:xfrm>
            <a:off x="609600" y="1463040"/>
            <a:ext cx="109728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Bullet level 1</a:t>
            </a:r>
          </a:p>
          <a:p>
            <a:pPr lvl="2"/>
            <a:r>
              <a:rPr lang="en-US"/>
              <a:t>Bullet level 2</a:t>
            </a:r>
          </a:p>
          <a:p>
            <a:pPr lvl="3"/>
            <a:r>
              <a:rPr lang="en-US"/>
              <a:t>Bullet level 3</a:t>
            </a:r>
          </a:p>
          <a:p>
            <a:pPr lvl="4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1409069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</p:sldLayoutIdLst>
  <p:txStyles>
    <p:titleStyle>
      <a:lvl1pPr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None/>
        <a:defRPr sz="4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4267" kern="1200">
          <a:solidFill>
            <a:srgbClr val="7C878E"/>
          </a:solidFill>
          <a:latin typeface="+mn-lt"/>
          <a:ea typeface="+mn-ea"/>
          <a:cs typeface="+mn-cs"/>
        </a:defRPr>
      </a:lvl1pPr>
      <a:lvl2pPr marL="609585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•"/>
        <a:defRPr sz="4267" kern="1200" baseline="0">
          <a:solidFill>
            <a:srgbClr val="7C878E"/>
          </a:solidFill>
          <a:latin typeface="+mn-lt"/>
          <a:ea typeface="+mn-ea"/>
          <a:cs typeface="+mn-cs"/>
        </a:defRPr>
      </a:lvl2pPr>
      <a:lvl3pPr marL="1219170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Courier New" panose="02070309020205020404" pitchFamily="49" charset="0"/>
        <a:buChar char="o"/>
        <a:defRPr sz="3733" kern="1200">
          <a:solidFill>
            <a:srgbClr val="7C878E"/>
          </a:solidFill>
          <a:latin typeface="+mn-lt"/>
          <a:ea typeface="+mn-ea"/>
          <a:cs typeface="+mn-cs"/>
        </a:defRPr>
      </a:lvl3pPr>
      <a:lvl4pPr marL="1828754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3200" kern="1200">
          <a:solidFill>
            <a:srgbClr val="7C878E"/>
          </a:solidFill>
          <a:latin typeface="+mn-lt"/>
          <a:ea typeface="+mn-ea"/>
          <a:cs typeface="+mn-cs"/>
        </a:defRPr>
      </a:lvl4pPr>
      <a:lvl5pPr marL="2438339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-"/>
        <a:defRPr sz="3200" kern="1200">
          <a:solidFill>
            <a:srgbClr val="7C878E"/>
          </a:solidFill>
          <a:latin typeface="+mn-lt"/>
          <a:ea typeface="+mn-ea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2880">
          <p15:clr>
            <a:srgbClr val="F26B43"/>
          </p15:clr>
        </p15:guide>
        <p15:guide id="3" pos="2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CA6926-E43B-48C0-9F51-BF5C430B4A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46778289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629" imgH="627" progId="TCLayout.ActiveDocument.1">
                  <p:embed/>
                </p:oleObj>
              </mc:Choice>
              <mc:Fallback>
                <p:oleObj name="think-cell Slide" r:id="rId21" imgW="629" imgH="6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CA6926-E43B-48C0-9F51-BF5C430B4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8BB4B3B-BEA6-4CF4-A9F3-3E387CAC34F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 descr="background-ppt-biogen2-04.jpg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143"/>
          </a:xfrm>
          <a:prstGeom prst="rect">
            <a:avLst/>
          </a:prstGeom>
        </p:spPr>
      </p:pic>
      <p:pic>
        <p:nvPicPr>
          <p:cNvPr id="7" name="Picture 6" descr="background-ppt-biogen2-04.jpg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143"/>
          </a:xfrm>
          <a:prstGeom prst="rect">
            <a:avLst/>
          </a:prstGeom>
        </p:spPr>
      </p:pic>
      <p:sp>
        <p:nvSpPr>
          <p:cNvPr id="8" name="Slide Number Placeholder 11"/>
          <p:cNvSpPr txBox="1">
            <a:spLocks/>
          </p:cNvSpPr>
          <p:nvPr/>
        </p:nvSpPr>
        <p:spPr>
          <a:xfrm>
            <a:off x="11725963" y="6492724"/>
            <a:ext cx="466037" cy="365125"/>
          </a:xfrm>
          <a:prstGeom prst="rect">
            <a:avLst/>
          </a:prstGeom>
        </p:spPr>
        <p:txBody>
          <a:bodyPr anchor="b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 baseline="30000">
                <a:solidFill>
                  <a:srgbClr val="2573BA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D79808A-BD48-6247-B53F-F089CE7B6EAB}" type="slidenum">
              <a:rPr lang="en-US" sz="1333" noProof="0" smtClean="0">
                <a:solidFill>
                  <a:srgbClr val="7C878E"/>
                </a:solidFill>
              </a:rPr>
              <a:pPr/>
              <a:t>‹#›</a:t>
            </a:fld>
            <a:endParaRPr lang="en-US" sz="1333" noProof="0">
              <a:solidFill>
                <a:srgbClr val="7C878E"/>
              </a:solidFill>
            </a:endParaRPr>
          </a:p>
        </p:txBody>
      </p:sp>
      <p:sp>
        <p:nvSpPr>
          <p:cNvPr id="12" name="Footer Placeholder 10"/>
          <p:cNvSpPr txBox="1">
            <a:spLocks/>
          </p:cNvSpPr>
          <p:nvPr/>
        </p:nvSpPr>
        <p:spPr>
          <a:xfrm>
            <a:off x="7865163" y="6494576"/>
            <a:ext cx="3860800" cy="365125"/>
          </a:xfrm>
          <a:prstGeom prst="rect">
            <a:avLst/>
          </a:prstGeom>
        </p:spPr>
        <p:txBody>
          <a:bodyPr anchor="b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en-US" sz="1000" b="0" i="0" u="none" strike="noStrike" kern="1200" baseline="30000" smtClean="0">
                <a:solidFill>
                  <a:srgbClr val="2573BA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noProof="0">
                <a:solidFill>
                  <a:srgbClr val="7C878E"/>
                </a:solidFill>
              </a:rPr>
              <a:t>Biogen | Confidential and Proprietary</a:t>
            </a:r>
          </a:p>
        </p:txBody>
      </p:sp>
      <p:pic>
        <p:nvPicPr>
          <p:cNvPr id="9" name="Picture 8" descr="logo-02.png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227" y="6423968"/>
            <a:ext cx="1013720" cy="33655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4077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idx="1"/>
          </p:nvPr>
        </p:nvSpPr>
        <p:spPr>
          <a:xfrm>
            <a:off x="609600" y="1463040"/>
            <a:ext cx="109728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Bullet level 1</a:t>
            </a:r>
          </a:p>
          <a:p>
            <a:pPr lvl="2"/>
            <a:r>
              <a:rPr lang="en-US"/>
              <a:t>Bullet level 2</a:t>
            </a:r>
          </a:p>
          <a:p>
            <a:pPr lvl="3"/>
            <a:r>
              <a:rPr lang="en-US"/>
              <a:t>Bullet level 3</a:t>
            </a:r>
          </a:p>
          <a:p>
            <a:pPr lvl="4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122855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</p:sldLayoutIdLst>
  <p:txStyles>
    <p:titleStyle>
      <a:lvl1pPr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None/>
        <a:defRPr sz="4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4267" kern="1200">
          <a:solidFill>
            <a:srgbClr val="7C878E"/>
          </a:solidFill>
          <a:latin typeface="+mn-lt"/>
          <a:ea typeface="+mn-ea"/>
          <a:cs typeface="+mn-cs"/>
        </a:defRPr>
      </a:lvl1pPr>
      <a:lvl2pPr marL="609585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•"/>
        <a:defRPr sz="4267" kern="1200" baseline="0">
          <a:solidFill>
            <a:srgbClr val="7C878E"/>
          </a:solidFill>
          <a:latin typeface="+mn-lt"/>
          <a:ea typeface="+mn-ea"/>
          <a:cs typeface="+mn-cs"/>
        </a:defRPr>
      </a:lvl2pPr>
      <a:lvl3pPr marL="1219170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Courier New" panose="02070309020205020404" pitchFamily="49" charset="0"/>
        <a:buChar char="o"/>
        <a:defRPr sz="3733" kern="1200">
          <a:solidFill>
            <a:srgbClr val="7C878E"/>
          </a:solidFill>
          <a:latin typeface="+mn-lt"/>
          <a:ea typeface="+mn-ea"/>
          <a:cs typeface="+mn-cs"/>
        </a:defRPr>
      </a:lvl3pPr>
      <a:lvl4pPr marL="1828754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3200" kern="1200">
          <a:solidFill>
            <a:srgbClr val="7C878E"/>
          </a:solidFill>
          <a:latin typeface="+mn-lt"/>
          <a:ea typeface="+mn-ea"/>
          <a:cs typeface="+mn-cs"/>
        </a:defRPr>
      </a:lvl4pPr>
      <a:lvl5pPr marL="2438339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-"/>
        <a:defRPr sz="3200" kern="1200">
          <a:solidFill>
            <a:srgbClr val="7C878E"/>
          </a:solidFill>
          <a:latin typeface="+mn-lt"/>
          <a:ea typeface="+mn-ea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2880">
          <p15:clr>
            <a:srgbClr val="F26B43"/>
          </p15:clr>
        </p15:guide>
        <p15:guide id="3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3E0F57-89E1-4CD1-941E-530065FCE5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3E0F57-89E1-4CD1-941E-530065FCE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36E90A-9756-4DAA-A5C0-5BBB46DDE1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B49B9A8-7362-4FFB-9503-B3F42D92B70A}"/>
              </a:ext>
            </a:extLst>
          </p:cNvPr>
          <p:cNvSpPr txBox="1">
            <a:spLocks/>
          </p:cNvSpPr>
          <p:nvPr/>
        </p:nvSpPr>
        <p:spPr>
          <a:xfrm>
            <a:off x="1349404" y="5587457"/>
            <a:ext cx="4465469" cy="6286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4267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1pPr>
            <a:lvl2pPr marL="609585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4267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2pPr>
            <a:lvl3pPr marL="1219170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3pPr>
            <a:lvl4pPr marL="1828754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4pPr>
            <a:lvl5pPr marL="2438339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-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609585" rtl="0" eaLnBrk="1" fontAlgn="auto" latinLnBrk="0" hangingPunct="1">
              <a:lnSpc>
                <a:spcPct val="100000"/>
              </a:lnSpc>
              <a:spcBef>
                <a:spcPts val="63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12700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PCS - Adhithiya Charli</a:t>
            </a:r>
          </a:p>
          <a:p>
            <a:pPr marL="0" marR="0" lvl="0" indent="0" algn="just" defTabSz="609585" rtl="0" eaLnBrk="1" fontAlgn="auto" latinLnBrk="0" hangingPunct="1">
              <a:lnSpc>
                <a:spcPct val="100000"/>
              </a:lnSpc>
              <a:spcBef>
                <a:spcPts val="63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12700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Computational Biology -  Zhen Gao and Dann Huh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1C6CDA-96EF-4992-9AF2-6F15731BF403}"/>
              </a:ext>
            </a:extLst>
          </p:cNvPr>
          <p:cNvSpPr txBox="1"/>
          <p:nvPr/>
        </p:nvSpPr>
        <p:spPr>
          <a:xfrm>
            <a:off x="835205" y="3136612"/>
            <a:ext cx="10521598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5B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-Target Assessment (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5B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isdiplam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5B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5B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anaplam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5B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 –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5B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ection using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5B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sl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5B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Seq Results</a:t>
            </a:r>
          </a:p>
        </p:txBody>
      </p:sp>
    </p:spTree>
    <p:extLst>
      <p:ext uri="{BB962C8B-B14F-4D97-AF65-F5344CB8AC3E}">
        <p14:creationId xmlns:p14="http://schemas.microsoft.com/office/powerpoint/2010/main" val="24230956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Off Targets and their Function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6152D62-D375-AD98-F1FC-36E321665F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269352"/>
              </p:ext>
            </p:extLst>
          </p:nvPr>
        </p:nvGraphicFramePr>
        <p:xfrm>
          <a:off x="1247774" y="1862969"/>
          <a:ext cx="9763125" cy="2261355"/>
        </p:xfrm>
        <a:graphic>
          <a:graphicData uri="http://schemas.openxmlformats.org/drawingml/2006/table">
            <a:tbl>
              <a:tblPr/>
              <a:tblGrid>
                <a:gridCol w="1402958">
                  <a:extLst>
                    <a:ext uri="{9D8B030D-6E8A-4147-A177-3AD203B41FA5}">
                      <a16:colId xmlns:a16="http://schemas.microsoft.com/office/drawing/2014/main" val="2344135560"/>
                    </a:ext>
                  </a:extLst>
                </a:gridCol>
                <a:gridCol w="2261486">
                  <a:extLst>
                    <a:ext uri="{9D8B030D-6E8A-4147-A177-3AD203B41FA5}">
                      <a16:colId xmlns:a16="http://schemas.microsoft.com/office/drawing/2014/main" val="3183120372"/>
                    </a:ext>
                  </a:extLst>
                </a:gridCol>
                <a:gridCol w="1806047">
                  <a:extLst>
                    <a:ext uri="{9D8B030D-6E8A-4147-A177-3AD203B41FA5}">
                      <a16:colId xmlns:a16="http://schemas.microsoft.com/office/drawing/2014/main" val="828715991"/>
                    </a:ext>
                  </a:extLst>
                </a:gridCol>
                <a:gridCol w="2512761">
                  <a:extLst>
                    <a:ext uri="{9D8B030D-6E8A-4147-A177-3AD203B41FA5}">
                      <a16:colId xmlns:a16="http://schemas.microsoft.com/office/drawing/2014/main" val="4093622927"/>
                    </a:ext>
                  </a:extLst>
                </a:gridCol>
                <a:gridCol w="1779873">
                  <a:extLst>
                    <a:ext uri="{9D8B030D-6E8A-4147-A177-3AD203B41FA5}">
                      <a16:colId xmlns:a16="http://schemas.microsoft.com/office/drawing/2014/main" val="3482748460"/>
                    </a:ext>
                  </a:extLst>
                </a:gridCol>
              </a:tblGrid>
              <a:tr h="8943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 Names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I_Risdiplam_10x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I_Risdiplam_03x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I_Branaplam_10x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I_Branaplam_03x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391469"/>
                  </a:ext>
                </a:extLst>
              </a:tr>
              <a:tr h="45567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N3</a:t>
                      </a:r>
                    </a:p>
                  </a:txBody>
                  <a:tcPr marL="9459" marR="9459" marT="945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42</a:t>
                      </a:r>
                    </a:p>
                  </a:txBody>
                  <a:tcPr marL="9459" marR="9459" marT="945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99</a:t>
                      </a:r>
                    </a:p>
                  </a:txBody>
                  <a:tcPr marL="9459" marR="9459" marT="945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7</a:t>
                      </a:r>
                    </a:p>
                  </a:txBody>
                  <a:tcPr marL="9459" marR="9459" marT="945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44</a:t>
                      </a:r>
                    </a:p>
                  </a:txBody>
                  <a:tcPr marL="9459" marR="9459" marT="945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696984"/>
                  </a:ext>
                </a:extLst>
              </a:tr>
              <a:tr h="45567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XM1</a:t>
                      </a:r>
                    </a:p>
                  </a:txBody>
                  <a:tcPr marL="9459" marR="9459" marT="945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64455496</a:t>
                      </a:r>
                    </a:p>
                  </a:txBody>
                  <a:tcPr marL="9459" marR="9459" marT="945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74398508</a:t>
                      </a:r>
                    </a:p>
                  </a:txBody>
                  <a:tcPr marL="9459" marR="9459" marT="945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09370517</a:t>
                      </a:r>
                    </a:p>
                  </a:txBody>
                  <a:tcPr marL="9459" marR="9459" marT="945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13948008</a:t>
                      </a:r>
                    </a:p>
                  </a:txBody>
                  <a:tcPr marL="9459" marR="9459" marT="945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902633"/>
                  </a:ext>
                </a:extLst>
              </a:tr>
              <a:tr h="45567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LP2</a:t>
                      </a:r>
                    </a:p>
                  </a:txBody>
                  <a:tcPr marL="9459" marR="9459" marT="945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96</a:t>
                      </a:r>
                    </a:p>
                  </a:txBody>
                  <a:tcPr marL="9459" marR="9459" marT="945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99</a:t>
                      </a:r>
                    </a:p>
                  </a:txBody>
                  <a:tcPr marL="9459" marR="9459" marT="945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41</a:t>
                      </a:r>
                    </a:p>
                  </a:txBody>
                  <a:tcPr marL="9459" marR="9459" marT="945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39</a:t>
                      </a:r>
                    </a:p>
                  </a:txBody>
                  <a:tcPr marL="9459" marR="9459" marT="945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0392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29636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4" y="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l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Safety Risks and their Function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75AC36F-2A6A-5214-CDCC-D2E67D59F94C}"/>
              </a:ext>
            </a:extLst>
          </p:cNvPr>
          <p:cNvSpPr txBox="1"/>
          <p:nvPr/>
        </p:nvSpPr>
        <p:spPr>
          <a:xfrm>
            <a:off x="2391103" y="241159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573B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3037805-A88B-2D8C-0C1D-10ADAD91D9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1547536"/>
              </p:ext>
            </p:extLst>
          </p:nvPr>
        </p:nvGraphicFramePr>
        <p:xfrm>
          <a:off x="234472" y="878765"/>
          <a:ext cx="11723057" cy="484322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98045">
                  <a:extLst>
                    <a:ext uri="{9D8B030D-6E8A-4147-A177-3AD203B41FA5}">
                      <a16:colId xmlns:a16="http://schemas.microsoft.com/office/drawing/2014/main" val="393831989"/>
                    </a:ext>
                  </a:extLst>
                </a:gridCol>
                <a:gridCol w="1749575">
                  <a:extLst>
                    <a:ext uri="{9D8B030D-6E8A-4147-A177-3AD203B41FA5}">
                      <a16:colId xmlns:a16="http://schemas.microsoft.com/office/drawing/2014/main" val="4019478623"/>
                    </a:ext>
                  </a:extLst>
                </a:gridCol>
                <a:gridCol w="2942483">
                  <a:extLst>
                    <a:ext uri="{9D8B030D-6E8A-4147-A177-3AD203B41FA5}">
                      <a16:colId xmlns:a16="http://schemas.microsoft.com/office/drawing/2014/main" val="3537949898"/>
                    </a:ext>
                  </a:extLst>
                </a:gridCol>
                <a:gridCol w="3876675">
                  <a:extLst>
                    <a:ext uri="{9D8B030D-6E8A-4147-A177-3AD203B41FA5}">
                      <a16:colId xmlns:a16="http://schemas.microsoft.com/office/drawing/2014/main" val="1824212504"/>
                    </a:ext>
                  </a:extLst>
                </a:gridCol>
                <a:gridCol w="1956279">
                  <a:extLst>
                    <a:ext uri="{9D8B030D-6E8A-4147-A177-3AD203B41FA5}">
                      <a16:colId xmlns:a16="http://schemas.microsoft.com/office/drawing/2014/main" val="900302763"/>
                    </a:ext>
                  </a:extLst>
                </a:gridCol>
              </a:tblGrid>
              <a:tr h="606503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</a:rPr>
                        <a:t>Name</a:t>
                      </a:r>
                      <a:endParaRPr lang="en-US" sz="1300" b="1" i="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</a:rPr>
                        <a:t>Functionality</a:t>
                      </a:r>
                      <a:endParaRPr lang="en-US" sz="1300" b="1" i="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</a:rPr>
                        <a:t>Preclinical Evidence of Risks</a:t>
                      </a:r>
                      <a:endParaRPr lang="en-US" sz="1300" b="1" i="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</a:rPr>
                        <a:t>Human Genetic Evidence of Risks</a:t>
                      </a:r>
                      <a:endParaRPr lang="en-US" sz="1300" b="1" i="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i="0" dirty="0">
                          <a:solidFill>
                            <a:srgbClr val="000000"/>
                          </a:solidFill>
                        </a:rPr>
                        <a:t>Safety Assess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0384335"/>
                  </a:ext>
                </a:extLst>
              </a:tr>
              <a:tr h="1160978"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dirty="0">
                          <a:solidFill>
                            <a:srgbClr val="000000"/>
                          </a:solidFill>
                          <a:effectLst/>
                        </a:rPr>
                        <a:t>FOXM1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dirty="0">
                          <a:solidFill>
                            <a:srgbClr val="000000"/>
                          </a:solidFill>
                          <a:effectLst/>
                        </a:rPr>
                        <a:t>(</a:t>
                      </a:r>
                      <a:r>
                        <a:rPr lang="en-US" sz="1300" b="0" u="none" strike="noStrike" kern="1200" baseline="0" dirty="0" err="1">
                          <a:solidFill>
                            <a:srgbClr val="000000"/>
                          </a:solidFill>
                        </a:rPr>
                        <a:t>forkhead</a:t>
                      </a:r>
                      <a:r>
                        <a:rPr lang="en-US" sz="1300" b="0" u="none" strike="noStrike" kern="1200" baseline="0" dirty="0">
                          <a:solidFill>
                            <a:srgbClr val="000000"/>
                          </a:solidFill>
                        </a:rPr>
                        <a:t> box M1)</a:t>
                      </a:r>
                      <a:endParaRPr lang="en-US" sz="1300" b="0" i="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 dirty="0">
                          <a:solidFill>
                            <a:srgbClr val="000000"/>
                          </a:solidFill>
                        </a:rPr>
                        <a:t>Involved in cell cycle and proliferation</a:t>
                      </a:r>
                      <a:endParaRPr lang="en-US" sz="1300" b="0" i="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2713" indent="-112713" algn="l">
                        <a:buFont typeface="Arial" panose="020B0604020202020204" pitchFamily="34" charset="0"/>
                        <a:buChar char="•"/>
                      </a:pPr>
                      <a:r>
                        <a:rPr lang="en-US" sz="1300" b="0" dirty="0">
                          <a:solidFill>
                            <a:srgbClr val="000000"/>
                          </a:solidFill>
                        </a:rPr>
                        <a:t>KO mice – embryonic lethality with abnormalities in the liver, heart, lung, and vasculature</a:t>
                      </a:r>
                    </a:p>
                    <a:p>
                      <a:pPr marL="112713" indent="-112713" algn="l">
                        <a:buFont typeface="Arial" panose="020B0604020202020204" pitchFamily="34" charset="0"/>
                        <a:buChar char="•"/>
                      </a:pPr>
                      <a:r>
                        <a:rPr lang="en-US" sz="1300" b="0" dirty="0">
                          <a:solidFill>
                            <a:srgbClr val="000000"/>
                          </a:solidFill>
                        </a:rPr>
                        <a:t>KD in cells – mitotic spindle defects, viability reduction</a:t>
                      </a:r>
                    </a:p>
                    <a:p>
                      <a:pPr marL="112713" indent="-112713" algn="l">
                        <a:buFont typeface="Arial" panose="020B0604020202020204" pitchFamily="34" charset="0"/>
                        <a:buChar char="•"/>
                      </a:pPr>
                      <a:r>
                        <a:rPr lang="en-US" sz="1300" b="0" dirty="0">
                          <a:solidFill>
                            <a:srgbClr val="000000"/>
                          </a:solidFill>
                        </a:rPr>
                        <a:t>Deletion leads to impaired organ repairs/regeneration</a:t>
                      </a:r>
                      <a:endParaRPr lang="en-US" sz="1300" b="0" i="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0650" marR="0" lvl="1" indent="-1206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300" kern="1200" noProof="0" dirty="0">
                          <a:solidFill>
                            <a:srgbClr val="000000"/>
                          </a:solidFill>
                        </a:rPr>
                        <a:t>No known Mendelian disease</a:t>
                      </a:r>
                    </a:p>
                    <a:p>
                      <a:pPr marL="120650" marR="0" lvl="1" indent="-1206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300" kern="1200" noProof="0" dirty="0">
                          <a:solidFill>
                            <a:srgbClr val="000000"/>
                          </a:solidFill>
                        </a:rPr>
                        <a:t>Single nucleotide variants associated with mean corpuscular hemoglobin (significant), increased risk of COPD (modest), and height (predicted FEV1)</a:t>
                      </a:r>
                      <a:endParaRPr lang="en-US" sz="1300" b="0" i="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0650" marR="0" lvl="1" indent="-1206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300" b="0" i="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5860467"/>
                  </a:ext>
                </a:extLst>
              </a:tr>
              <a:tr h="1248276"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dirty="0">
                          <a:solidFill>
                            <a:srgbClr val="000000"/>
                          </a:solidFill>
                          <a:effectLst/>
                        </a:rPr>
                        <a:t>STRN3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300" b="0" u="none" strike="noStrike" kern="1200" baseline="0" dirty="0">
                          <a:solidFill>
                            <a:srgbClr val="000000"/>
                          </a:solidFill>
                        </a:rPr>
                        <a:t>(</a:t>
                      </a:r>
                      <a:r>
                        <a:rPr lang="fr-FR" sz="1300" b="0" u="none" strike="noStrike" kern="1200" baseline="0" dirty="0" err="1">
                          <a:solidFill>
                            <a:srgbClr val="000000"/>
                          </a:solidFill>
                        </a:rPr>
                        <a:t>striatin</a:t>
                      </a:r>
                      <a:r>
                        <a:rPr lang="fr-FR" sz="1300" b="0" u="none" strike="noStrike" kern="1200" baseline="0" dirty="0">
                          <a:solidFill>
                            <a:srgbClr val="000000"/>
                          </a:solidFill>
                        </a:rPr>
                        <a:t>, </a:t>
                      </a:r>
                      <a:r>
                        <a:rPr lang="fr-FR" sz="1300" b="0" u="none" strike="noStrike" kern="1200" baseline="0" dirty="0" err="1">
                          <a:solidFill>
                            <a:srgbClr val="000000"/>
                          </a:solidFill>
                        </a:rPr>
                        <a:t>calmodulin</a:t>
                      </a:r>
                      <a:r>
                        <a:rPr lang="fr-FR" sz="1300" b="0" u="none" strike="noStrike" kern="1200" baseline="0" dirty="0">
                          <a:solidFill>
                            <a:srgbClr val="000000"/>
                          </a:solidFill>
                        </a:rPr>
                        <a:t> binding protein 3)</a:t>
                      </a:r>
                      <a:endParaRPr lang="en-US" sz="1300" b="0" i="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 u="none" strike="noStrike" kern="1200" baseline="0" dirty="0">
                          <a:solidFill>
                            <a:srgbClr val="000000"/>
                          </a:solidFill>
                        </a:rPr>
                        <a:t>May function as scaffolding or signaling protein that binds calmodulin</a:t>
                      </a:r>
                      <a:endParaRPr lang="en-US" sz="1300" b="0" i="0" u="none" strike="noStrike" kern="1200" baseline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2713" lvl="2" indent="-112713"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solidFill>
                            <a:srgbClr val="000000"/>
                          </a:solidFill>
                        </a:rPr>
                        <a:t>KO mice – decreased embryo size; lethality prior to organogenesis with gastrulation defects</a:t>
                      </a:r>
                      <a:endParaRPr lang="en-US" sz="1300" dirty="0">
                        <a:solidFill>
                          <a:srgbClr val="000000"/>
                        </a:solidFill>
                        <a:ea typeface="ＭＳ 明朝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0650" marR="0" lvl="1" indent="-1206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300" kern="1200" noProof="0" dirty="0">
                          <a:solidFill>
                            <a:srgbClr val="000000"/>
                          </a:solidFill>
                        </a:rPr>
                        <a:t>No known Mendelian disease</a:t>
                      </a:r>
                    </a:p>
                    <a:p>
                      <a:pPr marL="120650" marR="0" lvl="1" indent="-1206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300" kern="1200" noProof="0" dirty="0">
                          <a:solidFill>
                            <a:srgbClr val="000000"/>
                          </a:solidFill>
                        </a:rPr>
                        <a:t>Single nucleotide variants associated with mean platelet volume/count, neuroimaging measurements (subcortical volume, cortical surface area), diffusion brain MRI measurements (</a:t>
                      </a:r>
                      <a:r>
                        <a:rPr lang="en-GB" sz="1300" kern="1200" noProof="0" dirty="0" err="1">
                          <a:solidFill>
                            <a:srgbClr val="000000"/>
                          </a:solidFill>
                        </a:rPr>
                        <a:t>LoF</a:t>
                      </a:r>
                      <a:r>
                        <a:rPr lang="en-GB" sz="1300" kern="1200" noProof="0" dirty="0">
                          <a:solidFill>
                            <a:srgbClr val="000000"/>
                          </a:solidFill>
                        </a:rPr>
                        <a:t>)</a:t>
                      </a:r>
                      <a:endParaRPr lang="en-US" sz="1300" b="0" i="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0650" marR="0" lvl="1" indent="-1206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300" b="0" i="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2604895"/>
                  </a:ext>
                </a:extLst>
              </a:tr>
              <a:tr h="1191828"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dirty="0">
                          <a:solidFill>
                            <a:srgbClr val="000000"/>
                          </a:solidFill>
                          <a:effectLst/>
                        </a:rPr>
                        <a:t>APLP2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u="none" strike="noStrike" kern="1200" baseline="0" dirty="0">
                          <a:solidFill>
                            <a:srgbClr val="000000"/>
                          </a:solidFill>
                        </a:rPr>
                        <a:t>(amyloid precursor-like protein 2)</a:t>
                      </a:r>
                      <a:endParaRPr lang="en-US" sz="1300" b="0" i="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 dirty="0">
                          <a:solidFill>
                            <a:srgbClr val="000000"/>
                          </a:solidFill>
                        </a:rPr>
                        <a:t>Involved in brain development (e.g. synaptic plasticity, neurite outgrowth); modulators of glucose and insulin homeostasis</a:t>
                      </a:r>
                      <a:endParaRPr lang="en-US" sz="1300" b="0" i="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2713" marR="0" lvl="0" indent="-112713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b="0" dirty="0">
                          <a:solidFill>
                            <a:srgbClr val="000000"/>
                          </a:solidFill>
                        </a:rPr>
                        <a:t>KO mice – WT-like phenotype with normal spine density and synaptic plasticity; subtle retinal defects</a:t>
                      </a:r>
                      <a:endParaRPr lang="en-US" sz="1300" b="0" i="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0650" marR="0" lvl="0" indent="-12065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300" kern="1200" noProof="0" dirty="0">
                          <a:solidFill>
                            <a:srgbClr val="000000"/>
                          </a:solidFill>
                        </a:rPr>
                        <a:t>No known Mendelian disease</a:t>
                      </a:r>
                    </a:p>
                    <a:p>
                      <a:pPr marL="120650" marR="0" lvl="1" indent="-1206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300" kern="1200" noProof="0" dirty="0">
                          <a:solidFill>
                            <a:srgbClr val="000000"/>
                          </a:solidFill>
                        </a:rPr>
                        <a:t>Single nucleotide variants associated with blood protein levels</a:t>
                      </a:r>
                      <a:endParaRPr lang="en-US" sz="1300" b="0" i="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0650" marR="0" lvl="1" indent="-1206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300" b="0" i="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168181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1E75724-4A45-178E-FB7C-31A5B2B27145}"/>
              </a:ext>
            </a:extLst>
          </p:cNvPr>
          <p:cNvSpPr/>
          <p:nvPr/>
        </p:nvSpPr>
        <p:spPr>
          <a:xfrm>
            <a:off x="10830742" y="2045837"/>
            <a:ext cx="365760" cy="365760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7E3FB0C-3EE9-DEFE-6EAE-90DBB39D6154}"/>
              </a:ext>
            </a:extLst>
          </p:cNvPr>
          <p:cNvSpPr/>
          <p:nvPr/>
        </p:nvSpPr>
        <p:spPr>
          <a:xfrm>
            <a:off x="10830742" y="3469435"/>
            <a:ext cx="365760" cy="365760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3B3228-B3D8-D071-A799-5B7407C53195}"/>
              </a:ext>
            </a:extLst>
          </p:cNvPr>
          <p:cNvSpPr/>
          <p:nvPr/>
        </p:nvSpPr>
        <p:spPr>
          <a:xfrm>
            <a:off x="10830742" y="4893033"/>
            <a:ext cx="365760" cy="365760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7E5DCE5-CA5D-C510-7C5F-275373B45AC5}"/>
              </a:ext>
            </a:extLst>
          </p:cNvPr>
          <p:cNvSpPr txBox="1"/>
          <p:nvPr/>
        </p:nvSpPr>
        <p:spPr>
          <a:xfrm>
            <a:off x="920272" y="5920108"/>
            <a:ext cx="10964092" cy="568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100" b="1" dirty="0">
                <a:solidFill>
                  <a:srgbClr val="00B050"/>
                </a:solidFill>
              </a:rPr>
              <a:t>Green </a:t>
            </a:r>
            <a:r>
              <a:rPr lang="en-US" sz="1100" dirty="0">
                <a:solidFill>
                  <a:srgbClr val="000000"/>
                </a:solidFill>
              </a:rPr>
              <a:t>– No safety issues based currently available info and data from studies and clinical trials. </a:t>
            </a:r>
          </a:p>
          <a:p>
            <a:pPr>
              <a:lnSpc>
                <a:spcPct val="150000"/>
              </a:lnSpc>
            </a:pPr>
            <a:r>
              <a:rPr lang="en-US" sz="1100" b="1" dirty="0">
                <a:solidFill>
                  <a:srgbClr val="FFFF00"/>
                </a:solidFill>
              </a:rPr>
              <a:t>Yellow </a:t>
            </a:r>
            <a:r>
              <a:rPr lang="en-US" sz="1100" dirty="0">
                <a:solidFill>
                  <a:srgbClr val="000000"/>
                </a:solidFill>
              </a:rPr>
              <a:t>– Unknown or unclear safety issues (hard to predict with current info in hand) ; modest genetic evidence</a:t>
            </a:r>
          </a:p>
        </p:txBody>
      </p:sp>
    </p:spTree>
    <p:extLst>
      <p:ext uri="{BB962C8B-B14F-4D97-AF65-F5344CB8AC3E}">
        <p14:creationId xmlns:p14="http://schemas.microsoft.com/office/powerpoint/2010/main" val="1843772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B1TT3XQYmAUsvmbDn0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B1TT3XQYmAUsvmbDn0_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Yoo3JWFNOgPMWDCrsw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Biogen Design 3 WIDE">
  <a:themeElements>
    <a:clrScheme name="Biogen Theme">
      <a:dk1>
        <a:srgbClr val="2573BA"/>
      </a:dk1>
      <a:lt1>
        <a:srgbClr val="FFFFFF"/>
      </a:lt1>
      <a:dk2>
        <a:srgbClr val="005B7F"/>
      </a:dk2>
      <a:lt2>
        <a:srgbClr val="7C878E"/>
      </a:lt2>
      <a:accent1>
        <a:srgbClr val="7CC3E2"/>
      </a:accent1>
      <a:accent2>
        <a:srgbClr val="5CA136"/>
      </a:accent2>
      <a:accent3>
        <a:srgbClr val="2573BA"/>
      </a:accent3>
      <a:accent4>
        <a:srgbClr val="99CA3C"/>
      </a:accent4>
      <a:accent5>
        <a:srgbClr val="C7DD72"/>
      </a:accent5>
      <a:accent6>
        <a:srgbClr val="DDE5AE"/>
      </a:accent6>
      <a:hlink>
        <a:srgbClr val="1E5DAC"/>
      </a:hlink>
      <a:folHlink>
        <a:srgbClr val="466E8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5_Biogen Design 3 WIDE">
  <a:themeElements>
    <a:clrScheme name="Biogen Theme">
      <a:dk1>
        <a:srgbClr val="2573BA"/>
      </a:dk1>
      <a:lt1>
        <a:srgbClr val="FFFFFF"/>
      </a:lt1>
      <a:dk2>
        <a:srgbClr val="005B7F"/>
      </a:dk2>
      <a:lt2>
        <a:srgbClr val="7C878E"/>
      </a:lt2>
      <a:accent1>
        <a:srgbClr val="7CC3E2"/>
      </a:accent1>
      <a:accent2>
        <a:srgbClr val="5CA136"/>
      </a:accent2>
      <a:accent3>
        <a:srgbClr val="2573BA"/>
      </a:accent3>
      <a:accent4>
        <a:srgbClr val="99CA3C"/>
      </a:accent4>
      <a:accent5>
        <a:srgbClr val="C7DD72"/>
      </a:accent5>
      <a:accent6>
        <a:srgbClr val="DDE5AE"/>
      </a:accent6>
      <a:hlink>
        <a:srgbClr val="1E5DAC"/>
      </a:hlink>
      <a:folHlink>
        <a:srgbClr val="466E8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4</TotalTime>
  <Words>320</Words>
  <Application>Microsoft Office PowerPoint</Application>
  <PresentationFormat>Widescreen</PresentationFormat>
  <Paragraphs>55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ＭＳ 明朝</vt:lpstr>
      <vt:lpstr>Arial</vt:lpstr>
      <vt:lpstr>Arial Narrow</vt:lpstr>
      <vt:lpstr>Calibri</vt:lpstr>
      <vt:lpstr>Courier New</vt:lpstr>
      <vt:lpstr>Wingdings</vt:lpstr>
      <vt:lpstr>4_Biogen Design 3 WIDE</vt:lpstr>
      <vt:lpstr>5_Biogen Design 3 WID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hithiya Manohar Charle</dc:creator>
  <cp:lastModifiedBy>Adhithiya Manohar Charle</cp:lastModifiedBy>
  <cp:revision>1</cp:revision>
  <dcterms:created xsi:type="dcterms:W3CDTF">2022-09-27T16:08:54Z</dcterms:created>
  <dcterms:modified xsi:type="dcterms:W3CDTF">2022-09-27T20:13:31Z</dcterms:modified>
</cp:coreProperties>
</file>